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tags/tag5.xml" ContentType="application/vnd.openxmlformats-officedocument.presentationml.tags+xml"/>
  <Override PartName="/ppt/ink/ink5.xml" ContentType="application/inkml+xml"/>
  <Override PartName="/ppt/tags/tag6.xml" ContentType="application/vnd.openxmlformats-officedocument.presentationml.tags+xml"/>
  <Override PartName="/ppt/ink/ink6.xml" ContentType="application/inkml+xml"/>
  <Override PartName="/ppt/tags/tag7.xml" ContentType="application/vnd.openxmlformats-officedocument.presentationml.tags+xml"/>
  <Override PartName="/ppt/ink/ink7.xml" ContentType="application/inkml+xml"/>
  <Override PartName="/ppt/tags/tag8.xml" ContentType="application/vnd.openxmlformats-officedocument.presentationml.tags+xml"/>
  <Override PartName="/ppt/ink/ink8.xml" ContentType="application/inkml+xml"/>
  <Override PartName="/ppt/tags/tag9.xml" ContentType="application/vnd.openxmlformats-officedocument.presentationml.tags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0" r:id="rId2"/>
    <p:sldId id="265" r:id="rId3"/>
    <p:sldId id="258" r:id="rId4"/>
    <p:sldId id="261" r:id="rId5"/>
    <p:sldId id="262" r:id="rId6"/>
    <p:sldId id="263" r:id="rId7"/>
    <p:sldId id="264" r:id="rId8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52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1-18T08:26:31.41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99,'14'-2,"-1"0,1-1,-1 0,0-1,0-1,0 0,12-7,3 0,-9 3,-3 2,0 0,0 1,0 1,1 1,0 0,33-3,326 6,-167 3,20 11,11-1,-215-12,-3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1-18T08:26:35.475"/>
    </inkml:context>
    <inkml:brush xml:id="br0">
      <inkml:brushProperty name="width" value="0.3" units="cm"/>
      <inkml:brushProperty name="height" value="0.6" units="cm"/>
      <inkml:brushProperty name="color" value="#FF25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35,'280'-13,"19"1,489 12,-745-4,-28-1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1-18T08:26:52.825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4,'17'1,"1"0,-1-2,1 0,-1-1,1-1,-1-1,0 0,26-11,-30 10,0 0,1 1,-1 1,1 0,0 1,18-1,89 5,-25 0,31-14,26 0,-96 13,107 18,-142-16,24 5,52 15,-48-10,0-2,0-3,1-1,0-3,64-3,-99-1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1-18T08:27:44.556"/>
    </inkml:context>
    <inkml:brush xml:id="br0">
      <inkml:brushProperty name="width" value="0.3" units="cm"/>
      <inkml:brushProperty name="height" value="0.6" units="cm"/>
      <inkml:brushProperty name="color" value="#00FDFF"/>
      <inkml:brushProperty name="tip" value="rectangle"/>
      <inkml:brushProperty name="rasterOp" value="maskPen"/>
      <inkml:brushProperty name="ignorePressure" value="1"/>
    </inkml:brush>
  </inkml:definitions>
  <inkml:trace contextRef="#ctx0" brushRef="#br0">184 97,'33'-19,"-5"8,1 1,0 2,0 0,1 2,54-4,158 7,-144 5,861 0,-928-3,0 1,0 2,0 1,0 2,45 12,-70-14,0-1,-1 2,1-1,-1 0,0 1,0 0,0 1,0-1,-1 1,0-1,7 10,35 68,-13-21,-32-59,1 0,-1 0,1 0,-1 0,0 1,0-1,0 0,0 1,0-1,-1 0,1 1,-1-1,1 1,-1-1,0 1,0-1,0 1,0-1,-1 1,1-1,0 1,-1-1,0 1,-1 2,0-2,-1 0,0 0,0 0,0 0,0-1,0 1,-1-1,1 0,0 0,-1 0,0 0,0-1,1 1,-1-1,-5 1,-31 6,-1-2,0-2,-1-2,1-1,-48-6,-9 2,-1540 3,1598-6,40 6,0 0,0 0,0 0,0 0,0 0,-1 0,1 0,0 0,0 0,0 0,0 0,0-1,0 1,0 0,-1 0,1 0,0 0,0 0,0 0,0 0,0 0,0-1,0 1,0 0,0 0,0 0,0 0,0 0,0 0,0-1,0 1,0 0,0 0,0 0,0 0,0 0,0-1,0 1,0 0,0 0,0 0,0 0,0 0,0 0,0-1,0 1,0 0,0 0,0 0,0 0,0 0,1 0,-1 0,0 0,0-1,0 1,0 0,0 0,0 0,1 0,22-7,95-28,-92 25,1 1,0 2,1 1,49-6,377 13,-385 0,791 85,-756-76,195-8,-144-4,-123 3,-1 2,0 2,52 13,-31-6,-47-11,0 1,0-1,0-1,0 1,0-1,0 0,0 0,0 0,0-1,0 0,0 0,0 0,0-1,0 1,6-4,-7 2,-1 1,1-1,-1 0,0 0,0-1,-1 1,1-1,-1 1,0-1,1 0,-2 0,1 0,0 0,-1 0,0 0,0 0,0 0,0-8,2-2,-1 0,-1 1,0-1,-1 0,0 0,-2 0,1 0,-6-19,5 30,0-1,0 1,-1 0,1 0,-1 1,0-1,0 0,0 1,0 0,0 0,0 0,-1 0,1 0,-1 0,1 1,-5-1,-64-16,66 17,-76-10,0 4,-156 7,-54-2,19-32,-1 0,203 28,-274-13,98 20,226-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1-18T08:26:35.475"/>
    </inkml:context>
    <inkml:brush xml:id="br0">
      <inkml:brushProperty name="width" value="0.3" units="cm"/>
      <inkml:brushProperty name="height" value="0.6" units="cm"/>
      <inkml:brushProperty name="color" value="#FF25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35,'280'-13,"19"1,489 12,-745-4,-28-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1-18T08:26:52.825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4,'17'1,"1"0,-1-2,1 0,-1-1,1-1,-1-1,0 0,26-11,-30 10,0 0,1 1,-1 1,1 0,0 1,18-1,89 5,-25 0,31-14,26 0,-96 13,107 18,-142-16,24 5,52 15,-48-10,0-2,0-3,1-1,0-3,64-3,-99-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1-18T08:27:44.556"/>
    </inkml:context>
    <inkml:brush xml:id="br0">
      <inkml:brushProperty name="width" value="0.3" units="cm"/>
      <inkml:brushProperty name="height" value="0.6" units="cm"/>
      <inkml:brushProperty name="color" value="#00FDFF"/>
      <inkml:brushProperty name="tip" value="rectangle"/>
      <inkml:brushProperty name="rasterOp" value="maskPen"/>
      <inkml:brushProperty name="ignorePressure" value="1"/>
    </inkml:brush>
  </inkml:definitions>
  <inkml:trace contextRef="#ctx0" brushRef="#br0">184 97,'33'-19,"-5"8,1 1,0 2,0 0,1 2,54-4,158 7,-144 5,861 0,-928-3,0 1,0 2,0 1,0 2,45 12,-70-14,0-1,-1 2,1-1,-1 0,0 1,0 0,0 1,0-1,-1 1,0-1,7 10,35 68,-13-21,-32-59,1 0,-1 0,1 0,-1 0,0 1,0-1,0 0,0 1,0-1,-1 0,1 1,-1-1,1 1,-1-1,0 1,0-1,0 1,0-1,-1 1,1-1,0 1,-1-1,0 1,-1 2,0-2,-1 0,0 0,0 0,0 0,0-1,0 1,-1-1,1 0,0 0,-1 0,0 0,0-1,1 1,-1-1,-5 1,-31 6,-1-2,0-2,-1-2,1-1,-48-6,-9 2,-1540 3,1598-6,40 6,0 0,0 0,0 0,0 0,0 0,-1 0,1 0,0 0,0 0,0 0,0 0,0-1,0 1,0 0,-1 0,1 0,0 0,0 0,0 0,0 0,0 0,0-1,0 1,0 0,0 0,0 0,0 0,0 0,0 0,0-1,0 1,0 0,0 0,0 0,0 0,0 0,0-1,0 1,0 0,0 0,0 0,0 0,0 0,0 0,0-1,0 1,0 0,0 0,0 0,0 0,0 0,1 0,-1 0,0 0,0-1,0 1,0 0,0 0,0 0,1 0,22-7,95-28,-92 25,1 1,0 2,1 1,49-6,377 13,-385 0,791 85,-756-76,195-8,-144-4,-123 3,-1 2,0 2,52 13,-31-6,-47-11,0 1,0-1,0-1,0 1,0-1,0 0,0 0,0 0,0-1,0 0,0 0,0 0,0-1,0 1,6-4,-7 2,-1 1,1-1,-1 0,0 0,0-1,-1 1,1-1,-1 1,0-1,1 0,-2 0,1 0,0 0,-1 0,0 0,0 0,0 0,0-8,2-2,-1 0,-1 1,0-1,-1 0,0 0,-2 0,1 0,-6-19,5 30,0-1,0 1,-1 0,1 0,-1 1,0-1,0 0,0 1,0 0,0 0,0 0,-1 0,1 0,-1 0,1 1,-5-1,-64-16,66 17,-76-10,0 4,-156 7,-54-2,19-32,-1 0,203 28,-274-13,98 20,226-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1-18T08:26:35.475"/>
    </inkml:context>
    <inkml:brush xml:id="br0">
      <inkml:brushProperty name="width" value="0.3" units="cm"/>
      <inkml:brushProperty name="height" value="0.6" units="cm"/>
      <inkml:brushProperty name="color" value="#FF25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35,'280'-13,"19"1,489 12,-745-4,-28-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1-18T08:27:44.556"/>
    </inkml:context>
    <inkml:brush xml:id="br0">
      <inkml:brushProperty name="width" value="0.3" units="cm"/>
      <inkml:brushProperty name="height" value="0.6" units="cm"/>
      <inkml:brushProperty name="color" value="#00FDFF"/>
      <inkml:brushProperty name="tip" value="rectangle"/>
      <inkml:brushProperty name="rasterOp" value="maskPen"/>
      <inkml:brushProperty name="ignorePressure" value="1"/>
    </inkml:brush>
  </inkml:definitions>
  <inkml:trace contextRef="#ctx0" brushRef="#br0">184 97,'33'-19,"-5"8,1 1,0 2,0 0,1 2,54-4,158 7,-144 5,861 0,-928-3,0 1,0 2,0 1,0 2,45 12,-70-14,0-1,-1 2,1-1,-1 0,0 1,0 0,0 1,0-1,-1 1,0-1,7 10,35 68,-13-21,-32-59,1 0,-1 0,1 0,-1 0,0 1,0-1,0 0,0 1,0-1,-1 0,1 1,-1-1,1 1,-1-1,0 1,0-1,0 1,0-1,-1 1,1-1,0 1,-1-1,0 1,-1 2,0-2,-1 0,0 0,0 0,0 0,0-1,0 1,-1-1,1 0,0 0,-1 0,0 0,0-1,1 1,-1-1,-5 1,-31 6,-1-2,0-2,-1-2,1-1,-48-6,-9 2,-1540 3,1598-6,40 6,0 0,0 0,0 0,0 0,0 0,-1 0,1 0,0 0,0 0,0 0,0 0,0-1,0 1,0 0,-1 0,1 0,0 0,0 0,0 0,0 0,0 0,0-1,0 1,0 0,0 0,0 0,0 0,0 0,0 0,0-1,0 1,0 0,0 0,0 0,0 0,0 0,0-1,0 1,0 0,0 0,0 0,0 0,0 0,0 0,0-1,0 1,0 0,0 0,0 0,0 0,0 0,1 0,-1 0,0 0,0-1,0 1,0 0,0 0,0 0,1 0,22-7,95-28,-92 25,1 1,0 2,1 1,49-6,377 13,-385 0,791 85,-756-76,195-8,-144-4,-123 3,-1 2,0 2,52 13,-31-6,-47-11,0 1,0-1,0-1,0 1,0-1,0 0,0 0,0 0,0-1,0 0,0 0,0 0,0-1,0 1,6-4,-7 2,-1 1,1-1,-1 0,0 0,0-1,-1 1,1-1,-1 1,0-1,1 0,-2 0,1 0,0 0,-1 0,0 0,0 0,0 0,0-8,2-2,-1 0,-1 1,0-1,-1 0,0 0,-2 0,1 0,-6-19,5 30,0-1,0 1,-1 0,1 0,-1 1,0-1,0 0,0 1,0 0,0 0,0 0,-1 0,1 0,-1 0,1 1,-5-1,-64-16,66 17,-76-10,0 4,-156 7,-54-2,19-32,-1 0,203 28,-274-13,98 20,226-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1-18T08:26:52.825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4,'17'1,"1"0,-1-2,1 0,-1-1,1-1,-1-1,0 0,26-11,-30 10,0 0,1 1,-1 1,1 0,0 1,18-1,89 5,-25 0,31-14,26 0,-96 13,107 18,-142-16,24 5,52 15,-48-10,0-2,0-3,1-1,0-3,64-3,-99-1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1-18T08:26:31.41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99,'14'-2,"-1"0,1-1,-1 0,0-1,0-1,0 0,12-7,3 0,-9 3,-3 2,0 0,0 1,0 1,1 1,0 0,33-3,326 6,-167 3,20 11,11-1,-215-12,-3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1-18T08:26:31.41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99,'14'-2,"-1"0,1-1,-1 0,0-1,0-1,0 0,12-7,3 0,-9 3,-3 2,0 0,0 1,0 1,1 1,0 0,33-3,326 6,-167 3,20 11,11-1,-215-12,-3 0</inkml:trace>
</inkml:ink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8EE85-D796-BF71-5FE0-7F38699954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E90B28-6F80-3C57-0DCB-71453B8B6B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A72174-D133-B1E1-32AC-B1F83D7520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34075-722B-4151-BAFE-716D918A3776}" type="datetimeFigureOut">
              <a:rPr lang="en-US" smtClean="0"/>
              <a:t>1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C5C93D-F05F-FF6C-BF26-F7BE0CB873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91A7A3-08A6-DDB2-2497-B9408D75C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45A0E-C131-4FD4-BDCE-D715333E6E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3498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D3223D-0867-1043-11E9-7150D056A3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505AF3-B8F5-5B52-3624-78D217A35C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E69EBA-787B-19BD-7625-EFDF1C07C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34075-722B-4151-BAFE-716D918A3776}" type="datetimeFigureOut">
              <a:rPr lang="en-US" smtClean="0"/>
              <a:t>1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80D565-4F2D-0093-916B-A716449B4B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C29638-CDA3-7372-6724-F2D508468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45A0E-C131-4FD4-BDCE-D715333E6E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86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AD47BC3-D35B-D89D-5112-02AF683A63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20F89C-11A2-907A-57B5-A3E437EF67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B86CCA-04EA-461F-4FC0-2B71F95007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34075-722B-4151-BAFE-716D918A3776}" type="datetimeFigureOut">
              <a:rPr lang="en-US" smtClean="0"/>
              <a:t>1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071594-21A9-5948-26AE-B1E7642AC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CDCC73-DFDB-E0A9-2772-B4F0F0D390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45A0E-C131-4FD4-BDCE-D715333E6E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2652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C14A8-00C9-2887-12B3-E61C305AB9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39DC3B-3A87-933F-BE71-8625BA9868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529D97-383E-A822-A87B-9942D977A6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34075-722B-4151-BAFE-716D918A3776}" type="datetimeFigureOut">
              <a:rPr lang="en-US" smtClean="0"/>
              <a:t>1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2F8B36-0C22-417E-633F-7188D535D8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02556C-5A88-38F9-F574-A417C3BA7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45A0E-C131-4FD4-BDCE-D715333E6E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6445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A0B95A-B67F-7D86-CC87-5A0496E15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1D63F7-5E4C-E2EC-877F-437B1B80E1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8E8FA9-994C-C393-2BDA-5EE9E4B468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34075-722B-4151-BAFE-716D918A3776}" type="datetimeFigureOut">
              <a:rPr lang="en-US" smtClean="0"/>
              <a:t>1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B86BF-B5F6-4A50-D939-186B2F9C8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15FD00-458B-C2DD-254A-808FDA236E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45A0E-C131-4FD4-BDCE-D715333E6E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4088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FA5777-E016-FF26-3404-4848B6F55A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6DBF-7E09-ABA7-CFF8-3C4A709FDFF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4ACD6-983D-8B06-7100-86A84376C2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277177-740C-8376-B207-AB9EA51963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34075-722B-4151-BAFE-716D918A3776}" type="datetimeFigureOut">
              <a:rPr lang="en-US" smtClean="0"/>
              <a:t>1/2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E072B5-A2EE-0985-8E2E-CA210DC59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9C8E3F-B085-9DE7-1A00-2682091493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45A0E-C131-4FD4-BDCE-D715333E6E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2759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4DF64E-756E-8C7E-A317-F61E9B958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04E2D6-47EB-7FC6-6DE9-685C712BA7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625590-23EB-1A09-82EE-90162D0E65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2B6239-8576-D2C8-094E-A91E6BB6349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83E613F-C0C2-1CA3-A7D4-9D23BEB44E2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1BB4B4B-B43F-2D97-D9DC-9690C2B86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34075-722B-4151-BAFE-716D918A3776}" type="datetimeFigureOut">
              <a:rPr lang="en-US" smtClean="0"/>
              <a:t>1/20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F8037F7-0659-22F0-BA09-D3B669272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F735F26-60F9-C862-49ED-53F76B1E59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45A0E-C131-4FD4-BDCE-D715333E6E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93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A42B4-8426-F007-CB4A-9E64AAB6B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5B3FA6-2DFB-6A14-A74C-C06408D267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34075-722B-4151-BAFE-716D918A3776}" type="datetimeFigureOut">
              <a:rPr lang="en-US" smtClean="0"/>
              <a:t>1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81F686-FC12-486F-2EC5-9FC1038966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E6EDCB-138E-5BEC-E901-15F6D4C2E3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45A0E-C131-4FD4-BDCE-D715333E6E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3553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BAD3E00-EDC0-F2A7-CCAF-4E078DC968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34075-722B-4151-BAFE-716D918A3776}" type="datetimeFigureOut">
              <a:rPr lang="en-US" smtClean="0"/>
              <a:t>1/2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730141-B144-AF0E-31ED-6A2F07EA59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F1910E-09C6-4A28-0D3E-BF75BAFEA5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45A0E-C131-4FD4-BDCE-D715333E6E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616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0F1C6-ABC8-C32E-CED5-B2AF7374B8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1275F7-4DDC-B4A0-7A6D-C1E0F26709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341B3C-62F8-0FD9-C6CA-CFF5751C49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BF3C0D-72F8-B451-11F9-9A0F7FF23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34075-722B-4151-BAFE-716D918A3776}" type="datetimeFigureOut">
              <a:rPr lang="en-US" smtClean="0"/>
              <a:t>1/2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B5773D-7007-9734-8ACD-E6E1E475B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5A9AD5-1F50-9DC9-2882-8DBE71437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45A0E-C131-4FD4-BDCE-D715333E6E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5780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8CCFC-C092-3BC3-0EC0-F415E0A62E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A28B434-3B9A-7C8E-24E7-3F73FB8004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43B77D-A2D6-D897-026F-0AF2F67BB4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1E4CC6-AD61-E9E1-129B-2E43A305F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34075-722B-4151-BAFE-716D918A3776}" type="datetimeFigureOut">
              <a:rPr lang="en-US" smtClean="0"/>
              <a:t>1/2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A61AB0-C3AC-1553-BC19-89A10378BD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D6B527-F6BF-9FB8-52DE-8A87A664E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45A0E-C131-4FD4-BDCE-D715333E6E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5367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D2E3FA2-17A9-5077-F4C5-195E9E26D5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69653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3" imgH="353" progId="TCLayout.ActiveDocument.1">
                  <p:embed/>
                </p:oleObj>
              </mc:Choice>
              <mc:Fallback>
                <p:oleObj name="think-cell Slide" r:id="rId1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CAE733-DEA6-E97F-2DE8-442BED363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2BC704-04B8-224B-F0C6-3AC8E825B8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DA3303-4662-FDA4-C2B2-FA000691D2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934075-722B-4151-BAFE-716D918A3776}" type="datetimeFigureOut">
              <a:rPr lang="en-US" smtClean="0"/>
              <a:t>1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C8BCB8-59F6-FDAA-0D9F-7A13E60CDB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83E12C-A154-1191-1574-A562A4E6C4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F45A0E-C131-4FD4-BDCE-D715333E6E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83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customXml" Target="../ink/ink4.xml"/><Relationship Id="rId3" Type="http://schemas.openxmlformats.org/officeDocument/2006/relationships/oleObject" Target="../embeddings/oleObject3.bin"/><Relationship Id="rId7" Type="http://schemas.openxmlformats.org/officeDocument/2006/relationships/customXml" Target="../ink/ink1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11" Type="http://schemas.openxmlformats.org/officeDocument/2006/relationships/customXml" Target="../ink/ink3.xml"/><Relationship Id="rId5" Type="http://schemas.openxmlformats.org/officeDocument/2006/relationships/image" Target="../media/image2.png"/><Relationship Id="rId10" Type="http://schemas.openxmlformats.org/officeDocument/2006/relationships/image" Target="../media/image4.png"/><Relationship Id="rId4" Type="http://schemas.openxmlformats.org/officeDocument/2006/relationships/image" Target="../media/image1.emf"/><Relationship Id="rId9" Type="http://schemas.openxmlformats.org/officeDocument/2006/relationships/customXml" Target="../ink/ink2.xml"/><Relationship Id="rId1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4.bin"/><Relationship Id="rId7" Type="http://schemas.openxmlformats.org/officeDocument/2006/relationships/customXml" Target="../ink/ink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5.bin"/><Relationship Id="rId7" Type="http://schemas.openxmlformats.org/officeDocument/2006/relationships/customXml" Target="../ink/ink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6.bin"/><Relationship Id="rId7" Type="http://schemas.openxmlformats.org/officeDocument/2006/relationships/customXml" Target="../ink/ink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7.bin"/><Relationship Id="rId7" Type="http://schemas.openxmlformats.org/officeDocument/2006/relationships/customXml" Target="../ink/ink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customXml" Target="../ink/ink12.xml"/><Relationship Id="rId3" Type="http://schemas.openxmlformats.org/officeDocument/2006/relationships/oleObject" Target="../embeddings/oleObject8.bin"/><Relationship Id="rId7" Type="http://schemas.openxmlformats.org/officeDocument/2006/relationships/customXml" Target="../ink/ink9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11" Type="http://schemas.openxmlformats.org/officeDocument/2006/relationships/customXml" Target="../ink/ink11.xml"/><Relationship Id="rId5" Type="http://schemas.openxmlformats.org/officeDocument/2006/relationships/image" Target="../media/image2.png"/><Relationship Id="rId10" Type="http://schemas.openxmlformats.org/officeDocument/2006/relationships/image" Target="../media/image4.png"/><Relationship Id="rId4" Type="http://schemas.openxmlformats.org/officeDocument/2006/relationships/image" Target="../media/image1.emf"/><Relationship Id="rId9" Type="http://schemas.openxmlformats.org/officeDocument/2006/relationships/customXml" Target="../ink/ink10.xml"/><Relationship Id="rId1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1065F0-F142-A81E-275D-BEE6300420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1065F0-F142-A81E-275D-BEE6300420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28AB324-0DF2-726D-4D5A-3B296EFE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ructure introdu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72A545-6079-94CC-7F55-A9DA2532A6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811" y="1507009"/>
            <a:ext cx="9034732" cy="507213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1701905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1065F0-F142-A81E-275D-BEE6300420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1065F0-F142-A81E-275D-BEE6300420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28AB324-0DF2-726D-4D5A-3B296EFE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ructure introdu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72A545-6079-94CC-7F55-A9DA2532A6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811" y="1507009"/>
            <a:ext cx="9034732" cy="507213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43058C21-C5CF-EE81-E3E2-E84213B3ECA5}"/>
              </a:ext>
            </a:extLst>
          </p:cNvPr>
          <p:cNvSpPr/>
          <p:nvPr/>
        </p:nvSpPr>
        <p:spPr>
          <a:xfrm>
            <a:off x="1725283" y="1507009"/>
            <a:ext cx="3321170" cy="5072131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9BC7196-6D78-8B6C-76B1-B4B1565CC1AA}"/>
              </a:ext>
            </a:extLst>
          </p:cNvPr>
          <p:cNvSpPr/>
          <p:nvPr/>
        </p:nvSpPr>
        <p:spPr>
          <a:xfrm rot="17557149">
            <a:off x="5587189" y="2818581"/>
            <a:ext cx="2817585" cy="4072985"/>
          </a:xfrm>
          <a:prstGeom prst="ellipse">
            <a:avLst/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BBAEB43-DB93-C26B-EE6D-DE44078A2955}"/>
              </a:ext>
            </a:extLst>
          </p:cNvPr>
          <p:cNvSpPr/>
          <p:nvPr/>
        </p:nvSpPr>
        <p:spPr>
          <a:xfrm rot="14738032">
            <a:off x="5303576" y="1072524"/>
            <a:ext cx="3034051" cy="4072985"/>
          </a:xfrm>
          <a:prstGeom prst="ellipse">
            <a:avLst/>
          </a:prstGeom>
          <a:noFill/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9D1A284-056A-5318-568C-571304896E50}"/>
              </a:ext>
            </a:extLst>
          </p:cNvPr>
          <p:cNvSpPr/>
          <p:nvPr/>
        </p:nvSpPr>
        <p:spPr>
          <a:xfrm rot="16200000">
            <a:off x="8732375" y="3089960"/>
            <a:ext cx="1138687" cy="1816767"/>
          </a:xfrm>
          <a:prstGeom prst="ellipse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2D58A68-37AE-56EF-FB51-AB878BCF1A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06242" y="98824"/>
            <a:ext cx="5297749" cy="1823939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9F3304C3-54AD-532D-CCA5-A03D87D4E345}"/>
                  </a:ext>
                </a:extLst>
              </p14:cNvPr>
              <p14:cNvContentPartPr/>
              <p14:nvPr/>
            </p14:nvContentPartPr>
            <p14:xfrm>
              <a:off x="7323365" y="1680772"/>
              <a:ext cx="509400" cy="35640"/>
            </p14:xfrm>
          </p:contentPart>
        </mc:Choice>
        <mc:Fallback xmlns="">
          <p:pic>
            <p:nvPicPr>
              <p:cNvPr id="15" name="Ink 14">
                <a:extLst>
                  <a:ext uri="{FF2B5EF4-FFF2-40B4-BE49-F238E27FC236}">
                    <a16:creationId xmlns:a16="http://schemas.microsoft.com/office/drawing/2014/main" id="{9F3304C3-54AD-532D-CCA5-A03D87D4E345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269725" y="1573132"/>
                <a:ext cx="617040" cy="251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BB67C277-F205-F053-23FF-64188C9262F6}"/>
                  </a:ext>
                </a:extLst>
              </p14:cNvPr>
              <p14:cNvContentPartPr/>
              <p14:nvPr/>
            </p14:nvContentPartPr>
            <p14:xfrm>
              <a:off x="7383845" y="996772"/>
              <a:ext cx="513720" cy="12600"/>
            </p14:xfrm>
          </p:contentPart>
        </mc:Choice>
        <mc:Fallback xmlns=""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BB67C277-F205-F053-23FF-64188C9262F6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330205" y="889132"/>
                <a:ext cx="621360" cy="228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51959E83-4D75-6E3C-53D8-C22F154EF046}"/>
                  </a:ext>
                </a:extLst>
              </p14:cNvPr>
              <p14:cNvContentPartPr/>
              <p14:nvPr/>
            </p14:nvContentPartPr>
            <p14:xfrm>
              <a:off x="7383845" y="1491412"/>
              <a:ext cx="563040" cy="35640"/>
            </p14:xfrm>
          </p:contentPart>
        </mc:Choice>
        <mc:Fallback xmlns=""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51959E83-4D75-6E3C-53D8-C22F154EF046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7330205" y="1383772"/>
                <a:ext cx="670680" cy="251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20" name="Ink 19">
                <a:extLst>
                  <a:ext uri="{FF2B5EF4-FFF2-40B4-BE49-F238E27FC236}">
                    <a16:creationId xmlns:a16="http://schemas.microsoft.com/office/drawing/2014/main" id="{C7EFC6BF-723E-D55C-0AFC-9174524BBBA3}"/>
                  </a:ext>
                </a:extLst>
              </p14:cNvPr>
              <p14:cNvContentPartPr/>
              <p14:nvPr/>
            </p14:nvContentPartPr>
            <p14:xfrm>
              <a:off x="7335245" y="1189732"/>
              <a:ext cx="948240" cy="146160"/>
            </p14:xfrm>
          </p:contentPart>
        </mc:Choice>
        <mc:Fallback xmlns="">
          <p:pic>
            <p:nvPicPr>
              <p:cNvPr id="20" name="Ink 19">
                <a:extLst>
                  <a:ext uri="{FF2B5EF4-FFF2-40B4-BE49-F238E27FC236}">
                    <a16:creationId xmlns:a16="http://schemas.microsoft.com/office/drawing/2014/main" id="{C7EFC6BF-723E-D55C-0AFC-9174524BBBA3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7281605" y="1081732"/>
                <a:ext cx="1055880" cy="3618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5759514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1065F0-F142-A81E-275D-BEE6300420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8297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1065F0-F142-A81E-275D-BEE6300420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28AB324-0DF2-726D-4D5A-3B296EFE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ructure introdu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72A545-6079-94CC-7F55-A9DA2532A6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811" y="1507009"/>
            <a:ext cx="9034732" cy="507213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43058C21-C5CF-EE81-E3E2-E84213B3ECA5}"/>
              </a:ext>
            </a:extLst>
          </p:cNvPr>
          <p:cNvSpPr/>
          <p:nvPr/>
        </p:nvSpPr>
        <p:spPr>
          <a:xfrm>
            <a:off x="997527" y="1507009"/>
            <a:ext cx="4048926" cy="5072131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2D58A68-37AE-56EF-FB51-AB878BCF1A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06242" y="98824"/>
            <a:ext cx="5297749" cy="1823939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BB67C277-F205-F053-23FF-64188C9262F6}"/>
                  </a:ext>
                </a:extLst>
              </p14:cNvPr>
              <p14:cNvContentPartPr/>
              <p14:nvPr/>
            </p14:nvContentPartPr>
            <p14:xfrm>
              <a:off x="7383845" y="996772"/>
              <a:ext cx="513720" cy="12600"/>
            </p14:xfrm>
          </p:contentPart>
        </mc:Choice>
        <mc:Fallback xmlns=""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BB67C277-F205-F053-23FF-64188C9262F6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330205" y="889132"/>
                <a:ext cx="621360" cy="2282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9920023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1065F0-F142-A81E-275D-BEE6300420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1065F0-F142-A81E-275D-BEE6300420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28AB324-0DF2-726D-4D5A-3B296EFE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ructure introdu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72A545-6079-94CC-7F55-A9DA2532A6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811" y="1507009"/>
            <a:ext cx="9034732" cy="507213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49BC7196-6D78-8B6C-76B1-B4B1565CC1AA}"/>
              </a:ext>
            </a:extLst>
          </p:cNvPr>
          <p:cNvSpPr/>
          <p:nvPr/>
        </p:nvSpPr>
        <p:spPr>
          <a:xfrm rot="17557149">
            <a:off x="5587189" y="2818581"/>
            <a:ext cx="2817585" cy="4072985"/>
          </a:xfrm>
          <a:prstGeom prst="ellipse">
            <a:avLst/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2D58A68-37AE-56EF-FB51-AB878BCF1A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06242" y="98824"/>
            <a:ext cx="5297749" cy="1823939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20" name="Ink 19">
                <a:extLst>
                  <a:ext uri="{FF2B5EF4-FFF2-40B4-BE49-F238E27FC236}">
                    <a16:creationId xmlns:a16="http://schemas.microsoft.com/office/drawing/2014/main" id="{C7EFC6BF-723E-D55C-0AFC-9174524BBBA3}"/>
                  </a:ext>
                </a:extLst>
              </p14:cNvPr>
              <p14:cNvContentPartPr/>
              <p14:nvPr/>
            </p14:nvContentPartPr>
            <p14:xfrm>
              <a:off x="7335245" y="1189732"/>
              <a:ext cx="948240" cy="146160"/>
            </p14:xfrm>
          </p:contentPart>
        </mc:Choice>
        <mc:Fallback xmlns="">
          <p:pic>
            <p:nvPicPr>
              <p:cNvPr id="20" name="Ink 19">
                <a:extLst>
                  <a:ext uri="{FF2B5EF4-FFF2-40B4-BE49-F238E27FC236}">
                    <a16:creationId xmlns:a16="http://schemas.microsoft.com/office/drawing/2014/main" id="{C7EFC6BF-723E-D55C-0AFC-9174524BBBA3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281605" y="1081732"/>
                <a:ext cx="1055880" cy="3618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8237440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1065F0-F142-A81E-275D-BEE6300420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1065F0-F142-A81E-275D-BEE6300420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28AB324-0DF2-726D-4D5A-3B296EFE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ructure introdu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72A545-6079-94CC-7F55-A9DA2532A6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811" y="1507009"/>
            <a:ext cx="9034732" cy="507213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5BBAEB43-DB93-C26B-EE6D-DE44078A2955}"/>
              </a:ext>
            </a:extLst>
          </p:cNvPr>
          <p:cNvSpPr/>
          <p:nvPr/>
        </p:nvSpPr>
        <p:spPr>
          <a:xfrm rot="14738032">
            <a:off x="5303576" y="1072524"/>
            <a:ext cx="3034051" cy="4072985"/>
          </a:xfrm>
          <a:prstGeom prst="ellipse">
            <a:avLst/>
          </a:prstGeom>
          <a:noFill/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2D58A68-37AE-56EF-FB51-AB878BCF1A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06242" y="98824"/>
            <a:ext cx="5297749" cy="1823939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51959E83-4D75-6E3C-53D8-C22F154EF046}"/>
                  </a:ext>
                </a:extLst>
              </p14:cNvPr>
              <p14:cNvContentPartPr/>
              <p14:nvPr/>
            </p14:nvContentPartPr>
            <p14:xfrm>
              <a:off x="7383845" y="1491412"/>
              <a:ext cx="563040" cy="35640"/>
            </p14:xfrm>
          </p:contentPart>
        </mc:Choice>
        <mc:Fallback xmlns=""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51959E83-4D75-6E3C-53D8-C22F154EF046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330205" y="1383772"/>
                <a:ext cx="670680" cy="2512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4271498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1065F0-F142-A81E-275D-BEE6300420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1065F0-F142-A81E-275D-BEE6300420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28AB324-0DF2-726D-4D5A-3B296EFE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ructure introdu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72A545-6079-94CC-7F55-A9DA2532A6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811" y="1526895"/>
            <a:ext cx="9034732" cy="507213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B9D1A284-056A-5318-568C-571304896E50}"/>
              </a:ext>
            </a:extLst>
          </p:cNvPr>
          <p:cNvSpPr/>
          <p:nvPr/>
        </p:nvSpPr>
        <p:spPr>
          <a:xfrm rot="16200000">
            <a:off x="8732375" y="3089960"/>
            <a:ext cx="1138687" cy="1816767"/>
          </a:xfrm>
          <a:prstGeom prst="ellipse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2D58A68-37AE-56EF-FB51-AB878BCF1A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06242" y="98824"/>
            <a:ext cx="5297749" cy="1823939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9F3304C3-54AD-532D-CCA5-A03D87D4E345}"/>
                  </a:ext>
                </a:extLst>
              </p14:cNvPr>
              <p14:cNvContentPartPr/>
              <p14:nvPr/>
            </p14:nvContentPartPr>
            <p14:xfrm>
              <a:off x="7323365" y="1680772"/>
              <a:ext cx="509400" cy="35640"/>
            </p14:xfrm>
          </p:contentPart>
        </mc:Choice>
        <mc:Fallback xmlns="">
          <p:pic>
            <p:nvPicPr>
              <p:cNvPr id="15" name="Ink 14">
                <a:extLst>
                  <a:ext uri="{FF2B5EF4-FFF2-40B4-BE49-F238E27FC236}">
                    <a16:creationId xmlns:a16="http://schemas.microsoft.com/office/drawing/2014/main" id="{9F3304C3-54AD-532D-CCA5-A03D87D4E345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269725" y="1573132"/>
                <a:ext cx="617040" cy="2512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4333762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1065F0-F142-A81E-275D-BEE6300420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1065F0-F142-A81E-275D-BEE6300420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28AB324-0DF2-726D-4D5A-3B296EFE7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ructure introdu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72A545-6079-94CC-7F55-A9DA2532A6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811" y="1507009"/>
            <a:ext cx="9034732" cy="507213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43058C21-C5CF-EE81-E3E2-E84213B3ECA5}"/>
              </a:ext>
            </a:extLst>
          </p:cNvPr>
          <p:cNvSpPr/>
          <p:nvPr/>
        </p:nvSpPr>
        <p:spPr>
          <a:xfrm>
            <a:off x="1725283" y="1507009"/>
            <a:ext cx="3321170" cy="5072131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9BC7196-6D78-8B6C-76B1-B4B1565CC1AA}"/>
              </a:ext>
            </a:extLst>
          </p:cNvPr>
          <p:cNvSpPr/>
          <p:nvPr/>
        </p:nvSpPr>
        <p:spPr>
          <a:xfrm rot="17557149">
            <a:off x="5587189" y="2818581"/>
            <a:ext cx="2817585" cy="4072985"/>
          </a:xfrm>
          <a:prstGeom prst="ellipse">
            <a:avLst/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BBAEB43-DB93-C26B-EE6D-DE44078A2955}"/>
              </a:ext>
            </a:extLst>
          </p:cNvPr>
          <p:cNvSpPr/>
          <p:nvPr/>
        </p:nvSpPr>
        <p:spPr>
          <a:xfrm rot="14738032">
            <a:off x="5303576" y="1072524"/>
            <a:ext cx="3034051" cy="4072985"/>
          </a:xfrm>
          <a:prstGeom prst="ellipse">
            <a:avLst/>
          </a:prstGeom>
          <a:noFill/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9D1A284-056A-5318-568C-571304896E50}"/>
              </a:ext>
            </a:extLst>
          </p:cNvPr>
          <p:cNvSpPr/>
          <p:nvPr/>
        </p:nvSpPr>
        <p:spPr>
          <a:xfrm rot="16200000">
            <a:off x="8732375" y="3089960"/>
            <a:ext cx="1138687" cy="1816767"/>
          </a:xfrm>
          <a:prstGeom prst="ellipse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2D58A68-37AE-56EF-FB51-AB878BCF1A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06242" y="98824"/>
            <a:ext cx="5297749" cy="1823939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9F3304C3-54AD-532D-CCA5-A03D87D4E345}"/>
                  </a:ext>
                </a:extLst>
              </p14:cNvPr>
              <p14:cNvContentPartPr/>
              <p14:nvPr/>
            </p14:nvContentPartPr>
            <p14:xfrm>
              <a:off x="7323365" y="1680772"/>
              <a:ext cx="509400" cy="35640"/>
            </p14:xfrm>
          </p:contentPart>
        </mc:Choice>
        <mc:Fallback xmlns="">
          <p:pic>
            <p:nvPicPr>
              <p:cNvPr id="15" name="Ink 14">
                <a:extLst>
                  <a:ext uri="{FF2B5EF4-FFF2-40B4-BE49-F238E27FC236}">
                    <a16:creationId xmlns:a16="http://schemas.microsoft.com/office/drawing/2014/main" id="{9F3304C3-54AD-532D-CCA5-A03D87D4E345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269725" y="1573132"/>
                <a:ext cx="617040" cy="251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BB67C277-F205-F053-23FF-64188C9262F6}"/>
                  </a:ext>
                </a:extLst>
              </p14:cNvPr>
              <p14:cNvContentPartPr/>
              <p14:nvPr/>
            </p14:nvContentPartPr>
            <p14:xfrm>
              <a:off x="7383845" y="996772"/>
              <a:ext cx="513720" cy="12600"/>
            </p14:xfrm>
          </p:contentPart>
        </mc:Choice>
        <mc:Fallback xmlns=""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BB67C277-F205-F053-23FF-64188C9262F6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330205" y="889132"/>
                <a:ext cx="621360" cy="228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51959E83-4D75-6E3C-53D8-C22F154EF046}"/>
                  </a:ext>
                </a:extLst>
              </p14:cNvPr>
              <p14:cNvContentPartPr/>
              <p14:nvPr/>
            </p14:nvContentPartPr>
            <p14:xfrm>
              <a:off x="7383845" y="1491412"/>
              <a:ext cx="563040" cy="35640"/>
            </p14:xfrm>
          </p:contentPart>
        </mc:Choice>
        <mc:Fallback xmlns=""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51959E83-4D75-6E3C-53D8-C22F154EF046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7330205" y="1383772"/>
                <a:ext cx="670680" cy="251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20" name="Ink 19">
                <a:extLst>
                  <a:ext uri="{FF2B5EF4-FFF2-40B4-BE49-F238E27FC236}">
                    <a16:creationId xmlns:a16="http://schemas.microsoft.com/office/drawing/2014/main" id="{C7EFC6BF-723E-D55C-0AFC-9174524BBBA3}"/>
                  </a:ext>
                </a:extLst>
              </p14:cNvPr>
              <p14:cNvContentPartPr/>
              <p14:nvPr/>
            </p14:nvContentPartPr>
            <p14:xfrm>
              <a:off x="7335245" y="1189732"/>
              <a:ext cx="948240" cy="146160"/>
            </p14:xfrm>
          </p:contentPart>
        </mc:Choice>
        <mc:Fallback xmlns="">
          <p:pic>
            <p:nvPicPr>
              <p:cNvPr id="20" name="Ink 19">
                <a:extLst>
                  <a:ext uri="{FF2B5EF4-FFF2-40B4-BE49-F238E27FC236}">
                    <a16:creationId xmlns:a16="http://schemas.microsoft.com/office/drawing/2014/main" id="{C7EFC6BF-723E-D55C-0AFC-9174524BBBA3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7281605" y="1081732"/>
                <a:ext cx="1055880" cy="3618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223172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</Words>
  <Application>Microsoft Office PowerPoint</Application>
  <PresentationFormat>Widescreen</PresentationFormat>
  <Paragraphs>7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Calibri Light</vt:lpstr>
      <vt:lpstr>Office Theme</vt:lpstr>
      <vt:lpstr>think-cell Slide</vt:lpstr>
      <vt:lpstr>Structure introduction</vt:lpstr>
      <vt:lpstr>Structure introduction</vt:lpstr>
      <vt:lpstr>Structure introduction</vt:lpstr>
      <vt:lpstr>Structure introduction</vt:lpstr>
      <vt:lpstr>Structure introduction</vt:lpstr>
      <vt:lpstr>Structure introduction</vt:lpstr>
      <vt:lpstr>Structure introduc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VCSAP Code Handover</dc:title>
  <dc:creator>Li, Gen (T SEI IND-DE)</dc:creator>
  <cp:lastModifiedBy>Li, Gen (T SEI IND-DE)</cp:lastModifiedBy>
  <cp:revision>7</cp:revision>
  <dcterms:created xsi:type="dcterms:W3CDTF">2023-01-18T08:19:17Z</dcterms:created>
  <dcterms:modified xsi:type="dcterms:W3CDTF">2023-01-20T08:5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d258917-277f-42cd-a3cd-14c4e9ee58bc_Enabled">
    <vt:lpwstr>true</vt:lpwstr>
  </property>
  <property fmtid="{D5CDD505-2E9C-101B-9397-08002B2CF9AE}" pid="3" name="MSIP_Label_9d258917-277f-42cd-a3cd-14c4e9ee58bc_SetDate">
    <vt:lpwstr>2023-01-20T08:52:30Z</vt:lpwstr>
  </property>
  <property fmtid="{D5CDD505-2E9C-101B-9397-08002B2CF9AE}" pid="4" name="MSIP_Label_9d258917-277f-42cd-a3cd-14c4e9ee58bc_Method">
    <vt:lpwstr>Standard</vt:lpwstr>
  </property>
  <property fmtid="{D5CDD505-2E9C-101B-9397-08002B2CF9AE}" pid="5" name="MSIP_Label_9d258917-277f-42cd-a3cd-14c4e9ee58bc_Name">
    <vt:lpwstr>restricted</vt:lpwstr>
  </property>
  <property fmtid="{D5CDD505-2E9C-101B-9397-08002B2CF9AE}" pid="6" name="MSIP_Label_9d258917-277f-42cd-a3cd-14c4e9ee58bc_SiteId">
    <vt:lpwstr>38ae3bcd-9579-4fd4-adda-b42e1495d55a</vt:lpwstr>
  </property>
  <property fmtid="{D5CDD505-2E9C-101B-9397-08002B2CF9AE}" pid="7" name="MSIP_Label_9d258917-277f-42cd-a3cd-14c4e9ee58bc_ActionId">
    <vt:lpwstr>4ea45733-1343-4849-9d9f-707db88343c0</vt:lpwstr>
  </property>
  <property fmtid="{D5CDD505-2E9C-101B-9397-08002B2CF9AE}" pid="8" name="MSIP_Label_9d258917-277f-42cd-a3cd-14c4e9ee58bc_ContentBits">
    <vt:lpwstr>0</vt:lpwstr>
  </property>
  <property fmtid="{D5CDD505-2E9C-101B-9397-08002B2CF9AE}" pid="9" name="Document_Confidentiality">
    <vt:lpwstr>Restricted</vt:lpwstr>
  </property>
</Properties>
</file>